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sldIdLst>
    <p:sldId id="314" r:id="rId2"/>
    <p:sldId id="313" r:id="rId3"/>
    <p:sldId id="315" r:id="rId4"/>
    <p:sldId id="316" r:id="rId5"/>
  </p:sldIdLst>
  <p:sldSz cx="9144000" cy="6858000" type="screen4x3"/>
  <p:notesSz cx="6881813" cy="92964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got Kane" initials="" lastIdx="9" clrIdx="0"/>
  <p:cmAuthor id="1" name="Bafford, Beth" initials="BB" lastIdx="4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4F49"/>
    <a:srgbClr val="DEE52E"/>
    <a:srgbClr val="58AE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00" autoAdjust="0"/>
    <p:restoredTop sz="96916" autoAdjust="0"/>
  </p:normalViewPr>
  <p:slideViewPr>
    <p:cSldViewPr>
      <p:cViewPr varScale="1">
        <p:scale>
          <a:sx n="85" d="100"/>
          <a:sy n="85" d="100"/>
        </p:scale>
        <p:origin x="-1576" y="-1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notesMaster" Target="notesMasters/notesMaster1.xml"/><Relationship Id="rId7" Type="http://schemas.openxmlformats.org/officeDocument/2006/relationships/printerSettings" Target="printerSettings/printerSettings1.bin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E6FDF1EA-2F79-4151-91AE-28DF04E4AE18}" type="datetimeFigureOut">
              <a:rPr lang="en-US" smtClean="0"/>
              <a:t>4/17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50963" y="1162050"/>
            <a:ext cx="4179887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73892"/>
            <a:ext cx="5505450" cy="3660458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5E8B7E97-DD68-443A-96E2-2EC126C85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995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97552E-D69B-462E-B8C8-90E1463969AA}" type="datetime1">
              <a:rPr lang="en-US" smtClean="0"/>
              <a:t>4/1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1056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AD975E5-4A87-4B6F-B287-1B0D0ABF0F14}" type="datetime1">
              <a:rPr lang="en-US" smtClean="0"/>
              <a:t>4/1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938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A6B23C1-E809-491F-9D05-261099F3D66E}" type="datetime1">
              <a:rPr lang="en-US" smtClean="0"/>
              <a:t>4/1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860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86868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93FDE49-E8CD-47C3-AFFA-8CBC56D3E5B0}" type="datetime1">
              <a:rPr lang="en-US" smtClean="0"/>
              <a:t>4/1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484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4D8E99B-9FA7-47D2-81A1-FE3C160D6DFE}" type="datetime1">
              <a:rPr lang="en-US" smtClean="0"/>
              <a:t>4/17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461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18CA156-CA91-442F-9512-72E83AA5E166}" type="datetime1">
              <a:rPr lang="en-US" smtClean="0"/>
              <a:t>4/17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069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E40E8DE-61ED-4505-962C-EA99AAA90954}" type="datetime1">
              <a:rPr lang="en-US" smtClean="0"/>
              <a:t>4/17/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9376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23A5F5A-274D-4AFE-A855-18B5EDA1E610}" type="datetime1">
              <a:rPr lang="en-US" smtClean="0"/>
              <a:t>4/17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9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545CC0A-499A-4DDC-9710-E9D12498E373}" type="datetime1">
              <a:rPr lang="en-US" smtClean="0"/>
              <a:t>4/17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9396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B42638F-9CEE-4C5D-85E2-2AFCE99EE345}" type="datetime1">
              <a:rPr lang="en-US" smtClean="0"/>
              <a:t>4/17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894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5DE571C-947F-4943-8C40-7192E6CD14E6}" type="datetime1">
              <a:rPr lang="en-US" smtClean="0"/>
              <a:t>4/17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79CE1C-A5DC-4988-9490-2ED8A44100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712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13588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" name="think-cell Slide" r:id="rId15" imgW="360" imgH="359" progId="TCLayout.ActiveDocument.1">
                  <p:embed/>
                </p:oleObj>
              </mc:Choice>
              <mc:Fallback>
                <p:oleObj name="think-cell Slide" r:id="rId15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762000"/>
            <a:ext cx="9144000" cy="76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130182"/>
            <a:ext cx="8610600" cy="6111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79841" b="-8824"/>
          <a:stretch/>
        </p:blipFill>
        <p:spPr>
          <a:xfrm>
            <a:off x="8674512" y="169075"/>
            <a:ext cx="329376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390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58200" y="6477001"/>
            <a:ext cx="533400" cy="381000"/>
          </a:xfrm>
        </p:spPr>
        <p:txBody>
          <a:bodyPr/>
          <a:lstStyle/>
          <a:p>
            <a:pPr algn="r"/>
            <a:fld id="{6079CE1C-A5DC-4988-9490-2ED8A44100E0}" type="slidenum">
              <a:rPr lang="en-US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r"/>
              <a:t>1</a:t>
            </a:fld>
            <a:endParaRPr lang="en-US" sz="1200" b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28600" y="762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 smtClean="0"/>
              <a:t>Relative strengths and weaknesses of the current impact product landscap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28600" y="1038475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suer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71600" y="1038475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duct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8600" y="1402141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vert Social Investment Foundation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600" y="2149209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unity Capital Managemen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8600" y="2943812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lar City Corporation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28600" y="3629612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ld Bank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8600" y="4206609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iLinc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Global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8600" y="4948011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SF Social Financ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8600" y="5622143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Nature Conservancy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371600" y="1402141"/>
            <a:ext cx="167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unity Investment Not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371600" y="2149209"/>
            <a:ext cx="129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A qualified retail shares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371600" y="2943812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lar Bonds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371600" y="3629612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een Bonds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371600" y="4206609"/>
            <a:ext cx="1447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iLinc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Global Impact Fun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71600" y="4948011"/>
            <a:ext cx="167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SF Social Investment Fun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371600" y="5622143"/>
            <a:ext cx="167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Conservation Not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228600" y="1343275"/>
            <a:ext cx="86868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28600" y="2073009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228600" y="2802743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228600" y="3521146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228600" y="4206609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228600" y="4864608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228600" y="5582674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798482" y="88161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tail a</a:t>
            </a:r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cessibility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712882" y="881610"/>
            <a:ext cx="1752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ital markets attractiveness*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008282" y="881610"/>
            <a:ext cx="1752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tribution strength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172200" y="1038475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alability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874682" y="1463409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6532282" y="1463409"/>
            <a:ext cx="1066800" cy="539496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5313082" y="2193143"/>
            <a:ext cx="1066800" cy="539496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/>
          <p:cNvSpPr txBox="1"/>
          <p:nvPr/>
        </p:nvSpPr>
        <p:spPr>
          <a:xfrm>
            <a:off x="7620000" y="853809"/>
            <a:ext cx="137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lexible </a:t>
            </a:r>
          </a:p>
          <a:p>
            <a:pPr algn="ctr"/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pact focus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093882" y="1463409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5313082" y="1463409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7751482" y="1463409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2874682" y="2193143"/>
            <a:ext cx="1066800" cy="539496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4093882" y="2193143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/>
        </p:nvSpPr>
        <p:spPr>
          <a:xfrm>
            <a:off x="6532282" y="2193143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/>
        </p:nvSpPr>
        <p:spPr>
          <a:xfrm>
            <a:off x="7751482" y="2193143"/>
            <a:ext cx="1066800" cy="533400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/>
        </p:nvSpPr>
        <p:spPr>
          <a:xfrm>
            <a:off x="2874682" y="2911546"/>
            <a:ext cx="1066800" cy="539496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4093882" y="2911546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/>
        </p:nvSpPr>
        <p:spPr>
          <a:xfrm>
            <a:off x="5313082" y="2911546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/>
          <p:cNvSpPr/>
          <p:nvPr/>
        </p:nvSpPr>
        <p:spPr>
          <a:xfrm>
            <a:off x="7751482" y="2911546"/>
            <a:ext cx="1066800" cy="539496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6532282" y="2911546"/>
            <a:ext cx="1066800" cy="539496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/>
        </p:nvSpPr>
        <p:spPr>
          <a:xfrm>
            <a:off x="2874682" y="3597346"/>
            <a:ext cx="1066800" cy="539496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/>
        </p:nvSpPr>
        <p:spPr>
          <a:xfrm>
            <a:off x="4093882" y="3597346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/>
        </p:nvSpPr>
        <p:spPr>
          <a:xfrm>
            <a:off x="5313082" y="3597346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/>
        </p:nvSpPr>
        <p:spPr>
          <a:xfrm>
            <a:off x="7751482" y="3597346"/>
            <a:ext cx="1066800" cy="539496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/>
          <p:cNvSpPr/>
          <p:nvPr/>
        </p:nvSpPr>
        <p:spPr>
          <a:xfrm>
            <a:off x="6532282" y="3597346"/>
            <a:ext cx="1066800" cy="539496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/>
        </p:nvSpPr>
        <p:spPr>
          <a:xfrm>
            <a:off x="2874682" y="4248912"/>
            <a:ext cx="1066800" cy="539496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/>
        </p:nvSpPr>
        <p:spPr>
          <a:xfrm>
            <a:off x="4093882" y="4255008"/>
            <a:ext cx="1066800" cy="533400"/>
          </a:xfrm>
          <a:prstGeom prst="rect">
            <a:avLst/>
          </a:prstGeom>
          <a:solidFill>
            <a:srgbClr val="58AE1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/>
        </p:nvSpPr>
        <p:spPr>
          <a:xfrm>
            <a:off x="5313082" y="4255008"/>
            <a:ext cx="1066800" cy="533400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/>
        </p:nvSpPr>
        <p:spPr>
          <a:xfrm>
            <a:off x="7751482" y="4255008"/>
            <a:ext cx="1066800" cy="539496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>
          <a:xfrm>
            <a:off x="6532282" y="4255008"/>
            <a:ext cx="1066800" cy="539496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/>
        </p:nvSpPr>
        <p:spPr>
          <a:xfrm>
            <a:off x="2874682" y="4940808"/>
            <a:ext cx="1066800" cy="539496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/>
          <p:cNvSpPr/>
          <p:nvPr/>
        </p:nvSpPr>
        <p:spPr>
          <a:xfrm>
            <a:off x="4093882" y="4946904"/>
            <a:ext cx="1066800" cy="533400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/>
        </p:nvSpPr>
        <p:spPr>
          <a:xfrm>
            <a:off x="5313082" y="4946904"/>
            <a:ext cx="1066800" cy="533400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/>
          <p:cNvSpPr/>
          <p:nvPr/>
        </p:nvSpPr>
        <p:spPr>
          <a:xfrm>
            <a:off x="7751482" y="4946904"/>
            <a:ext cx="1066800" cy="539496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/>
        </p:nvSpPr>
        <p:spPr>
          <a:xfrm>
            <a:off x="6532282" y="4946904"/>
            <a:ext cx="1066800" cy="539496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/>
        </p:nvSpPr>
        <p:spPr>
          <a:xfrm>
            <a:off x="2874682" y="5626608"/>
            <a:ext cx="1066800" cy="539496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/>
          <p:cNvSpPr/>
          <p:nvPr/>
        </p:nvSpPr>
        <p:spPr>
          <a:xfrm>
            <a:off x="4093882" y="5632704"/>
            <a:ext cx="1066800" cy="533400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/>
          <p:cNvSpPr/>
          <p:nvPr/>
        </p:nvSpPr>
        <p:spPr>
          <a:xfrm>
            <a:off x="5313082" y="5632704"/>
            <a:ext cx="1066800" cy="533400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7751482" y="5632704"/>
            <a:ext cx="1066800" cy="539496"/>
          </a:xfrm>
          <a:prstGeom prst="rect">
            <a:avLst/>
          </a:prstGeom>
          <a:solidFill>
            <a:srgbClr val="DEE5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/>
          <p:cNvSpPr/>
          <p:nvPr/>
        </p:nvSpPr>
        <p:spPr>
          <a:xfrm>
            <a:off x="6532282" y="5632704"/>
            <a:ext cx="1066800" cy="539496"/>
          </a:xfrm>
          <a:prstGeom prst="rect">
            <a:avLst/>
          </a:prstGeom>
          <a:solidFill>
            <a:srgbClr val="F54F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6" name="Group 75"/>
          <p:cNvGrpSpPr/>
          <p:nvPr/>
        </p:nvGrpSpPr>
        <p:grpSpPr>
          <a:xfrm>
            <a:off x="228600" y="6504801"/>
            <a:ext cx="4953000" cy="261610"/>
            <a:chOff x="228600" y="6553200"/>
            <a:chExt cx="4953000" cy="261610"/>
          </a:xfrm>
        </p:grpSpPr>
        <p:sp>
          <p:nvSpPr>
            <p:cNvPr id="70" name="Rectangle 69"/>
            <p:cNvSpPr/>
            <p:nvPr/>
          </p:nvSpPr>
          <p:spPr>
            <a:xfrm>
              <a:off x="228600" y="6553200"/>
              <a:ext cx="325718" cy="228600"/>
            </a:xfrm>
            <a:prstGeom prst="rect">
              <a:avLst/>
            </a:prstGeom>
            <a:solidFill>
              <a:srgbClr val="58AE1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/>
            <p:cNvSpPr/>
            <p:nvPr/>
          </p:nvSpPr>
          <p:spPr>
            <a:xfrm>
              <a:off x="1524000" y="6553200"/>
              <a:ext cx="325718" cy="228600"/>
            </a:xfrm>
            <a:prstGeom prst="rect">
              <a:avLst/>
            </a:prstGeom>
            <a:solidFill>
              <a:srgbClr val="DEE52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Rectangle 71"/>
            <p:cNvSpPr/>
            <p:nvPr/>
          </p:nvSpPr>
          <p:spPr>
            <a:xfrm>
              <a:off x="3124200" y="6553200"/>
              <a:ext cx="325718" cy="228600"/>
            </a:xfrm>
            <a:prstGeom prst="rect">
              <a:avLst/>
            </a:prstGeom>
            <a:solidFill>
              <a:srgbClr val="F54F4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533400" y="6553200"/>
              <a:ext cx="12192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re strength</a:t>
              </a:r>
              <a:endPara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828800" y="6553200"/>
              <a:ext cx="17526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oderate </a:t>
              </a:r>
              <a:r>
                <a:rPr lang="en-US" sz="105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rength</a:t>
              </a:r>
              <a:endPara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3429000" y="6553200"/>
              <a:ext cx="17526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Weakness</a:t>
              </a:r>
              <a:endParaRPr lang="en-US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77" name="TextBox 76"/>
          <p:cNvSpPr txBox="1"/>
          <p:nvPr/>
        </p:nvSpPr>
        <p:spPr>
          <a:xfrm>
            <a:off x="4419600" y="6527884"/>
            <a:ext cx="4343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lang="en-US" sz="105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ludes </a:t>
            </a:r>
            <a:r>
              <a:rPr lang="en-US" sz="105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ase of transactions, track record, strength of issuer </a:t>
            </a:r>
            <a:endParaRPr lang="en-US" sz="10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7345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992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7" name="think-cell Slide" r:id="rId4" imgW="360" imgH="359" progId="TCLayout.ActiveDocument.1">
                  <p:embed/>
                </p:oleObj>
              </mc:Choice>
              <mc:Fallback>
                <p:oleObj name="think-cell Slide" r:id="rId4" imgW="360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Rectangle 71"/>
          <p:cNvSpPr/>
          <p:nvPr/>
        </p:nvSpPr>
        <p:spPr>
          <a:xfrm>
            <a:off x="0" y="1447800"/>
            <a:ext cx="9144000" cy="66503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686800" cy="533400"/>
          </a:xfrm>
        </p:spPr>
        <p:txBody>
          <a:bodyPr/>
          <a:lstStyle/>
          <a:p>
            <a:r>
              <a:rPr lang="en-US" dirty="0" smtClean="0"/>
              <a:t>Impact product landscape </a:t>
            </a:r>
            <a:r>
              <a:rPr lang="en-US" dirty="0" smtClean="0"/>
              <a:t>in detail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6079CE1C-A5DC-4988-9490-2ED8A44100E0}" type="slidenum">
              <a:rPr lang="en-US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r"/>
              <a:t>2</a:t>
            </a:fld>
            <a:endParaRPr lang="en-US" sz="1200" b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228600" y="1371600"/>
            <a:ext cx="86868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28600" y="1066800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suer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71600" y="1066800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duct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14600" y="882134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fering size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57600" y="1066800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ield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48200" y="909935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vestment size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67400" y="882134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quidity / term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086600" y="1066800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tribution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8600" y="1430466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vert Social Investment Foundation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8600" y="2209800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unity Capital Managemen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8600" y="304800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lar City Corporation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28600" y="3810000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ld Bank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8600" y="4491335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iLinc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Global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8600" y="5112603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SF Social Financ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28600" y="5983069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Nature Conservancy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71600" y="1430466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unity Investment Not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371600" y="220980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A qualified retail shares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371600" y="3048000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lar Bonds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371600" y="3810000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een Bonds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371600" y="4491335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iLinc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Global Impact Fun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371600" y="5112603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SF Social Investment Fun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371600" y="5983069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Conservation Not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514600" y="1430466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500M; continually issue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514600" y="2209800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 limit; continually issue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514600" y="3048000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176M; continually issue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514600" y="3810000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8B issued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514600" y="4491335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p to $1.5B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514600" y="5112603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50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514600" y="5983069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25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657600" y="1430466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.5 – 4%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657600" y="2209800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vg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.98% after tax &amp; expens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657600" y="3048000"/>
            <a:ext cx="838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6 – 5.75%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657600" y="3810000"/>
            <a:ext cx="838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.5 – 8.75%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657600" y="4491335"/>
            <a:ext cx="838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.6 – 7.5%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657600" y="5112603"/>
            <a:ext cx="83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.25%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657600" y="5983069"/>
            <a:ext cx="83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 – 2%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648200" y="1430466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20 min investmen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648200" y="220980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2,500 min investmen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648200" y="304800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1,000 min investmen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648200" y="381000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ypically millions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648200" y="4491335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2,000 min investmen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648200" y="5112603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1,000 min investmen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648200" y="5983069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25,000 min investmen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867400" y="1430466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-20 years; buy back at CF discretion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867400" y="2209800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ily liquidity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867400" y="3048000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-15 years; no secondary marke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867400" y="381000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ypically held to ter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867400" y="4491335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-year min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867400" y="5112603"/>
            <a:ext cx="1143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demption at discretion; quarterly liquidity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867400" y="5983069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-5 years; redemption at discretion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086600" y="1430466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00 brokerages; online at Vested.org; direc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7086600" y="2209800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urchased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rough the Fund’s transfer agent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086600" y="3048000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00 brokerages; online at solarbonds.co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086600" y="3810000"/>
            <a:ext cx="20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B Global Debt Issuance Facility;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vailabl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18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urrencies; liste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7086600" y="4491335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urchased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rough the Fund’s transfer agent 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7086600" y="5112603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 application with check or wir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7086600" y="5983069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 application with check or wire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6" name="Straight Connector 65"/>
          <p:cNvCxnSpPr/>
          <p:nvPr/>
        </p:nvCxnSpPr>
        <p:spPr>
          <a:xfrm>
            <a:off x="228600" y="2133600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228600" y="2906931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228600" y="3733800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228600" y="4419600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228600" y="5029200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228600" y="5943600"/>
            <a:ext cx="86868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1069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533400"/>
          </a:xfrm>
        </p:spPr>
        <p:txBody>
          <a:bodyPr>
            <a:noAutofit/>
          </a:bodyPr>
          <a:lstStyle/>
          <a:p>
            <a:r>
              <a:rPr lang="en-US" dirty="0" smtClean="0"/>
              <a:t>We are seeing a lot of demand for flexible debt capital in our international sectors and geographies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6079CE1C-A5DC-4988-9490-2ED8A44100E0}" type="slidenum">
              <a:rPr lang="en-US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r"/>
              <a:t>3</a:t>
            </a:fld>
            <a:endParaRPr lang="en-US" sz="1200" b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2400" y="1022866"/>
            <a:ext cx="1143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ctor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24000" y="1022866"/>
            <a:ext cx="182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mand identified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14800" y="1022866"/>
            <a:ext cx="2220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rtfolio strategy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0" y="838200"/>
            <a:ext cx="129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ze of pipeline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772400" y="838200"/>
            <a:ext cx="1447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rox</a:t>
            </a:r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ize of opportunity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52400" y="1295400"/>
            <a:ext cx="89154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52400" y="1334869"/>
            <a:ext cx="1371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ean household technologies for women’s empowerment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24000" y="1334869"/>
            <a:ext cx="2514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r WIN-WIN 1.0 portfolio illuminated the need for patient debt capital along the full household technology value chain (manufacturing, retail, distribution, consumer financing)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14800" y="1334869"/>
            <a:ext cx="2590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 the intermediation capacity and skills across the value chain by identifying strong fund managers and arming them with industry analysis, a gender lens, and an impact framework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781800" y="1323201"/>
            <a:ext cx="213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20-25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848600" y="1323201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40-60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152400" y="2565737"/>
            <a:ext cx="8915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52400" y="2565737"/>
            <a:ext cx="1371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MEs in India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524000" y="2565737"/>
            <a:ext cx="2514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ffordable capital to capitalize the loan funds of non-banking financial companies focused on impact-sector SME lending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14800" y="2565737"/>
            <a:ext cx="2590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e a portfolio of NBFCs that are lending across energy, health, education, agriculture to get more flexible capital flowing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781800" y="2565737"/>
            <a:ext cx="213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10-15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848600" y="2565737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25-40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152400" y="3429000"/>
            <a:ext cx="8915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52400" y="3429000"/>
            <a:ext cx="1371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lobal Health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524000" y="3429000"/>
            <a:ext cx="2514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lexible capital to build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alth delivery and other system-wide sub-sectors (insurance, </a:t>
            </a:r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Health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devices, logistics)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 tagged to a certain disease or population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14800" y="3429000"/>
            <a:ext cx="2590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 a portfolio of strong fund mangers who “major” in health and are taking a cross-value chain, systems strengthening approach 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781800" y="3429000"/>
            <a:ext cx="213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10-15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848600" y="3429000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40-50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152400" y="4470737"/>
            <a:ext cx="8915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152400" y="4470737"/>
            <a:ext cx="1371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griculture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524000" y="4470737"/>
            <a:ext cx="251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king capital for small-holder farmers and other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mall enterprises along the supply chain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114800" y="4470737"/>
            <a:ext cx="2590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ing experience with fair trade, develop a strategy to better understand how our capital can help increase debt flows across the supply chain; one deal identified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781800" y="4470737"/>
            <a:ext cx="213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10-15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848600" y="4470737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50-100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152400" y="5562600"/>
            <a:ext cx="8915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152400" y="5562600"/>
            <a:ext cx="137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MEs in Latin America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524000" y="5562600"/>
            <a:ext cx="2514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114800" y="5562600"/>
            <a:ext cx="2590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velop participation facilities with fund managers with strong local networks and capacity to support small businesses and financial intermediaries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781800" y="5562600"/>
            <a:ext cx="213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20-30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848600" y="5562600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50-70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229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686800" cy="533400"/>
          </a:xfrm>
        </p:spPr>
        <p:txBody>
          <a:bodyPr>
            <a:noAutofit/>
          </a:bodyPr>
          <a:lstStyle/>
          <a:p>
            <a:r>
              <a:rPr lang="en-US" dirty="0" smtClean="0"/>
              <a:t>…and across US community and economic development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6079CE1C-A5DC-4988-9490-2ED8A44100E0}" type="slidenum">
              <a:rPr lang="en-US" sz="12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r"/>
              <a:t>4</a:t>
            </a:fld>
            <a:endParaRPr lang="en-US" sz="1200" b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2400" y="83820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ctor/structure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24000" y="1022866"/>
            <a:ext cx="182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mand identified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14800" y="1022866"/>
            <a:ext cx="2220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rtfolio strategy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81800" y="838200"/>
            <a:ext cx="129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ze of pipeline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772400" y="838200"/>
            <a:ext cx="1447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rox</a:t>
            </a:r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ize of opportunity</a:t>
            </a:r>
            <a:endParaRPr lang="en-US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52400" y="1295400"/>
            <a:ext cx="89154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52400" y="1334869"/>
            <a:ext cx="1371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alth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24000" y="1334869"/>
            <a:ext cx="2514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Affordable Care Act is incentivizing a greater focus on community-based health preventative programs that yield significant public savings and benefits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14800" y="1334869"/>
            <a:ext cx="2590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entify areas outside of health clinic financing where flexible debt capital can help scale proven, successful programs led by community-based organizations or health plans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781800" y="1323201"/>
            <a:ext cx="213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B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848600" y="1323201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50-100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152400" y="2565737"/>
            <a:ext cx="8915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52400" y="2565737"/>
            <a:ext cx="137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ffordable housing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524000" y="2565737"/>
            <a:ext cx="2514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14800" y="2565737"/>
            <a:ext cx="259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781800" y="2565737"/>
            <a:ext cx="213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X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848600" y="2565737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X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152400" y="3429000"/>
            <a:ext cx="8915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52400" y="3429000"/>
            <a:ext cx="1371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DFIs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524000" y="3429000"/>
            <a:ext cx="2514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14800" y="3429000"/>
            <a:ext cx="259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781800" y="3429000"/>
            <a:ext cx="213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X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848600" y="3429000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X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152400" y="4470737"/>
            <a:ext cx="8915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152400" y="4470737"/>
            <a:ext cx="137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y-for-success contracts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524000" y="4470737"/>
            <a:ext cx="2514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 the SIF Pay for Success grants current at work to develop deals, there should be a strong pipeline of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vestable PFS deals over the next 1-3 years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114800" y="4470737"/>
            <a:ext cx="2590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 experience with early PFS deals to scale preventative social services that yield significant health systems savings; work towards Medicaid as a PFS </a:t>
            </a:r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yor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781800" y="4470737"/>
            <a:ext cx="213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50-75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848600" y="4470737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250-300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152400" y="5562600"/>
            <a:ext cx="8915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152400" y="5562600"/>
            <a:ext cx="1371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ructured funds for sector or geography 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524000" y="5562600"/>
            <a:ext cx="2514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114800" y="5562600"/>
            <a:ext cx="259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781800" y="5562600"/>
            <a:ext cx="213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X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848600" y="5562600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XM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483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7&quot;&gt;&lt;elem m_fUsage=&quot;2.78529455941390050000E+000&quot;&gt;&lt;m_msothmcolidx val=&quot;0&quot;/&gt;&lt;m_rgb r=&quot;ef&quot; g=&quot;a8&quot; b=&quot;74&quot;/&gt;&lt;m_ppcolschidx tagver0=&quot;23004&quot; tagname0=&quot;m_ppcolschidxUNRECOGNIZED&quot; val=&quot;0&quot;/&gt;&lt;m_nBrightness val=&quot;0&quot;/&gt;&lt;/elem&gt;&lt;elem m_fUsage=&quot;2.28535792454961050000E+000&quot;&gt;&lt;m_msothmcolidx val=&quot;0&quot;/&gt;&lt;m_rgb r=&quot;58&quot; g=&quot;d3&quot; b=&quot;43&quot;/&gt;&lt;m_ppcolschidx tagver0=&quot;23004&quot; tagname0=&quot;m_ppcolschidxUNRECOGNIZED&quot; val=&quot;0&quot;/&gt;&lt;m_nBrightness val=&quot;0&quot;/&gt;&lt;/elem&gt;&lt;elem m_fUsage=&quot;2.23992317767723480000E+000&quot;&gt;&lt;m_msothmcolidx val=&quot;0&quot;/&gt;&lt;m_rgb r=&quot;f2&quot; g=&quot;7a&quot; b=&quot;77&quot;/&gt;&lt;m_ppcolschidx tagver0=&quot;23004&quot; tagname0=&quot;m_ppcolschidxUNRECOGNIZED&quot; val=&quot;0&quot;/&gt;&lt;m_nBrightness val=&quot;0&quot;/&gt;&lt;/elem&gt;&lt;elem m_fUsage=&quot;8.35809222313010360000E-001&quot;&gt;&lt;m_msothmcolidx val=&quot;0&quot;/&gt;&lt;m_rgb r=&quot;59&quot; g=&quot;b0&quot; b=&quot;2f&quot;/&gt;&lt;m_ppcolschidx tagver0=&quot;23004&quot; tagname0=&quot;m_ppcolschidxUNRECOGNIZED&quot; val=&quot;0&quot;/&gt;&lt;m_nBrightness val=&quot;0&quot;/&gt;&lt;/elem&gt;&lt;elem m_fUsage=&quot;5.22505660767299320000E-001&quot;&gt;&lt;m_msothmcolidx val=&quot;0&quot;/&gt;&lt;m_rgb r=&quot;fc&quot; g=&quot;d6&quot; b=&quot;c9&quot;/&gt;&lt;m_ppcolschidx tagver0=&quot;23004&quot; tagname0=&quot;m_ppcolschidxUNRECOGNIZED&quot; val=&quot;0&quot;/&gt;&lt;m_nBrightness val=&quot;0&quot;/&gt;&lt;/elem&gt;&lt;elem m_fUsage=&quot;2.94721008016696650000E-001&quot;&gt;&lt;m_msothmcolidx val=&quot;0&quot;/&gt;&lt;m_rgb r=&quot;92&quot; g=&quot;e2&quot; b=&quot;83&quot;/&gt;&lt;m_ppcolschidx tagver0=&quot;23004&quot; tagname0=&quot;m_ppcolschidxUNRECOGNIZED&quot; val=&quot;0&quot;/&gt;&lt;m_nBrightness val=&quot;0&quot;/&gt;&lt;/elem&gt;&lt;elem m_fUsage=&quot;1.50094635296999210000E-001&quot;&gt;&lt;m_msothmcolidx val=&quot;0&quot;/&gt;&lt;m_rgb r=&quot;cb&quot; g=&quot;f1&quot; b=&quot;c5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47</TotalTime>
  <Words>800</Words>
  <Application>Microsoft Macintosh PowerPoint</Application>
  <PresentationFormat>On-screen Show (4:3)</PresentationFormat>
  <Paragraphs>150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Office Theme</vt:lpstr>
      <vt:lpstr>think-cell Slide</vt:lpstr>
      <vt:lpstr>PowerPoint Presentation</vt:lpstr>
      <vt:lpstr>Impact product landscape in detail </vt:lpstr>
      <vt:lpstr>We are seeing a lot of demand for flexible debt capital in our international sectors and geographies…</vt:lpstr>
      <vt:lpstr>…and across US community and economic development 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financial case</dc:title>
  <dc:creator>Kane, Margot</dc:creator>
  <cp:lastModifiedBy>Beth</cp:lastModifiedBy>
  <cp:revision>232</cp:revision>
  <cp:lastPrinted>2015-04-02T15:28:43Z</cp:lastPrinted>
  <dcterms:created xsi:type="dcterms:W3CDTF">2015-03-22T20:22:42Z</dcterms:created>
  <dcterms:modified xsi:type="dcterms:W3CDTF">2015-04-20T13:26:22Z</dcterms:modified>
</cp:coreProperties>
</file>